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8" r:id="rId3"/>
  </p:sld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255" autoAdjust="0"/>
    <p:restoredTop sz="94660"/>
  </p:normalViewPr>
  <p:slideViewPr>
    <p:cSldViewPr snapToGrid="0">
      <p:cViewPr varScale="1">
        <p:scale>
          <a:sx n="66" d="100"/>
          <a:sy n="66" d="100"/>
        </p:scale>
        <p:origin x="928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6A567-071F-41B4-9A04-35D420D64486}" type="datetimeFigureOut">
              <a:rPr lang="en-US" smtClean="0"/>
              <a:t>9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680F1-9D69-4DCC-B0B9-0D6CD861FA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34618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6A567-071F-41B4-9A04-35D420D64486}" type="datetimeFigureOut">
              <a:rPr lang="en-US" smtClean="0"/>
              <a:t>9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680F1-9D69-4DCC-B0B9-0D6CD861FA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1284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6A567-071F-41B4-9A04-35D420D64486}" type="datetimeFigureOut">
              <a:rPr lang="en-US" smtClean="0"/>
              <a:t>9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680F1-9D69-4DCC-B0B9-0D6CD861FA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3512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7987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0682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30854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0033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5796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8957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01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820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6A567-071F-41B4-9A04-35D420D64486}" type="datetimeFigureOut">
              <a:rPr lang="en-US" smtClean="0"/>
              <a:t>9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680F1-9D69-4DCC-B0B9-0D6CD861FA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061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5017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8255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2962619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4314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7544191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7979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8605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890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65937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573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6A567-071F-41B4-9A04-35D420D64486}" type="datetimeFigureOut">
              <a:rPr lang="en-US" smtClean="0"/>
              <a:t>9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680F1-9D69-4DCC-B0B9-0D6CD861FA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4977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21279853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7884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4117175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14547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63580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735322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0235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6A567-071F-41B4-9A04-35D420D64486}" type="datetimeFigureOut">
              <a:rPr lang="en-US" smtClean="0"/>
              <a:t>9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680F1-9D69-4DCC-B0B9-0D6CD861FA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9602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6A567-071F-41B4-9A04-35D420D64486}" type="datetimeFigureOut">
              <a:rPr lang="en-US" smtClean="0"/>
              <a:t>9/2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680F1-9D69-4DCC-B0B9-0D6CD861FA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1621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6A567-071F-41B4-9A04-35D420D64486}" type="datetimeFigureOut">
              <a:rPr lang="en-US" smtClean="0"/>
              <a:t>9/2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680F1-9D69-4DCC-B0B9-0D6CD861FA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7784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6A567-071F-41B4-9A04-35D420D64486}" type="datetimeFigureOut">
              <a:rPr lang="en-US" smtClean="0"/>
              <a:t>9/2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680F1-9D69-4DCC-B0B9-0D6CD861FA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5300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6A567-071F-41B4-9A04-35D420D64486}" type="datetimeFigureOut">
              <a:rPr lang="en-US" smtClean="0"/>
              <a:t>9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680F1-9D69-4DCC-B0B9-0D6CD861FA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51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6A567-071F-41B4-9A04-35D420D64486}" type="datetimeFigureOut">
              <a:rPr lang="en-US" smtClean="0"/>
              <a:t>9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680F1-9D69-4DCC-B0B9-0D6CD861FA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75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33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3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A6A567-071F-41B4-9A04-35D420D64486}" type="datetimeFigureOut">
              <a:rPr lang="en-US" smtClean="0"/>
              <a:t>9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9680F1-9D69-4DCC-B0B9-0D6CD861FA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580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744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dirty="0">
                <a:solidFill>
                  <a:srgbClr val="FFFFFF">
                    <a:lumMod val="65000"/>
                  </a:srgbClr>
                </a:solidFill>
              </a:rPr>
              <a:t>© Capgemini 2018. All rights reserved  </a:t>
            </a:r>
            <a:r>
              <a:rPr lang="en-US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7196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WS-Session3</a:t>
            </a:r>
            <a:endParaRPr lang="en-GB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8683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7348" y="1617044"/>
            <a:ext cx="11700000" cy="4664509"/>
          </a:xfrm>
        </p:spPr>
        <p:txBody>
          <a:bodyPr/>
          <a:lstStyle/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 smtClean="0"/>
              <a:t>Standard Queu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 smtClean="0"/>
              <a:t>FIFO Queu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/>
              <a:t>Dead Letter Queue (DLQ)</a:t>
            </a:r>
            <a:endParaRPr lang="en-US" b="1" dirty="0" smtClean="0"/>
          </a:p>
          <a:p>
            <a:endParaRPr lang="en-US" b="1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Types of Queue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018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7348" y="1617044"/>
            <a:ext cx="11700000" cy="4664509"/>
          </a:xfrm>
        </p:spPr>
        <p:txBody>
          <a:bodyPr/>
          <a:lstStyle/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 smtClean="0"/>
              <a:t>Create a Queue through Amazon Consol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 smtClean="0"/>
              <a:t>Add message to it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 smtClean="0"/>
              <a:t>Get that message through SDK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 smtClean="0"/>
              <a:t>Create a new queue through SDK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Lab Queue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289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7348" y="1617044"/>
            <a:ext cx="11700000" cy="4664509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b="1" dirty="0" smtClean="0">
                <a:solidFill>
                  <a:schemeClr val="accent1">
                    <a:lumMod val="75000"/>
                  </a:schemeClr>
                </a:solidFill>
              </a:rPr>
              <a:t>Messaging Service</a:t>
            </a:r>
          </a:p>
          <a:p>
            <a:endParaRPr lang="en-US" sz="2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b="1" dirty="0" smtClean="0">
                <a:solidFill>
                  <a:schemeClr val="accent1">
                    <a:lumMod val="75000"/>
                  </a:schemeClr>
                </a:solidFill>
              </a:rPr>
              <a:t>CICD</a:t>
            </a:r>
          </a:p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Agenda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923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7348" y="1617044"/>
            <a:ext cx="11700000" cy="4664509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rgbClr val="002060"/>
                </a:solidFill>
              </a:rPr>
              <a:t>SNS works on push technology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rgbClr val="002060"/>
                </a:solidFill>
              </a:rPr>
              <a:t>It is also called Server Push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rgbClr val="002060"/>
                </a:solidFill>
              </a:rPr>
              <a:t>It’s a managed notification service</a:t>
            </a:r>
          </a:p>
          <a:p>
            <a:endParaRPr lang="en-US" dirty="0" smtClean="0"/>
          </a:p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 smtClean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SNS (Simple Notification Service)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656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7348" y="1617044"/>
            <a:ext cx="11700000" cy="4664509"/>
          </a:xfrm>
        </p:spPr>
        <p:txBody>
          <a:bodyPr/>
          <a:lstStyle/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143" y="1162700"/>
            <a:ext cx="10895798" cy="453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707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7348" y="1617044"/>
            <a:ext cx="11700000" cy="4664509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rgbClr val="002060"/>
                </a:solidFill>
              </a:rPr>
              <a:t>Application and System Aler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rgbClr val="002060"/>
                </a:solidFill>
              </a:rPr>
              <a:t>Mobile Device notification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rgbClr val="002060"/>
                </a:solidFill>
              </a:rPr>
              <a:t>Push E-mails and Text messages</a:t>
            </a:r>
          </a:p>
          <a:p>
            <a:endParaRPr lang="en-US" dirty="0" smtClean="0">
              <a:solidFill>
                <a:srgbClr val="002060"/>
              </a:solidFill>
            </a:endParaRPr>
          </a:p>
          <a:p>
            <a:endParaRPr lang="en-US" dirty="0" smtClean="0"/>
          </a:p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 smtClean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Uses of SNS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6316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7348" y="1617044"/>
            <a:ext cx="11700000" cy="4664509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rgbClr val="002060"/>
                </a:solidFill>
              </a:rPr>
              <a:t>Create an SNS Topic, create subscriber and push topic to subscriber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rgbClr val="002060"/>
                </a:solidFill>
              </a:rPr>
              <a:t>Publish notification through </a:t>
            </a:r>
            <a:r>
              <a:rPr lang="en-US" dirty="0" smtClean="0">
                <a:solidFill>
                  <a:srgbClr val="002060"/>
                </a:solidFill>
              </a:rPr>
              <a:t>SDK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2060"/>
                </a:solidFill>
              </a:rPr>
              <a:t>https://github.com/awsdocs/aws-doc-sdk-examples/blob/master/javav2/example_code/sns/src/main/java/com/example/sns/PublishTopic.java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 smtClean="0">
              <a:solidFill>
                <a:srgbClr val="002060"/>
              </a:solidFill>
            </a:endParaRPr>
          </a:p>
          <a:p>
            <a:endParaRPr lang="en-US" dirty="0" smtClean="0">
              <a:solidFill>
                <a:srgbClr val="002060"/>
              </a:solidFill>
            </a:endParaRP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Lab SNS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244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7348" y="1617044"/>
            <a:ext cx="11700000" cy="4664509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A message queue is a queue of messages exchanged </a:t>
            </a:r>
            <a:r>
              <a:rPr lang="en-US" dirty="0" smtClean="0"/>
              <a:t>between</a:t>
            </a:r>
          </a:p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 smtClean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SQS (Simple Queue Service)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766" y="2834654"/>
            <a:ext cx="10382401" cy="3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76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7349" y="1508225"/>
            <a:ext cx="11700000" cy="4664509"/>
          </a:xfrm>
        </p:spPr>
        <p:txBody>
          <a:bodyPr/>
          <a:lstStyle/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/>
              <a:t>Decoupling application </a:t>
            </a:r>
            <a:r>
              <a:rPr lang="en-US" b="1" dirty="0" smtClean="0"/>
              <a:t>process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/>
              <a:t>Application </a:t>
            </a:r>
            <a:r>
              <a:rPr lang="en-US" b="1" dirty="0" smtClean="0"/>
              <a:t>scalability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/>
              <a:t>Guaranteed message </a:t>
            </a:r>
            <a:r>
              <a:rPr lang="en-US" b="1" dirty="0" smtClean="0"/>
              <a:t>delivery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/>
              <a:t>Message order </a:t>
            </a:r>
            <a:r>
              <a:rPr lang="en-US" b="1" dirty="0" smtClean="0"/>
              <a:t>guarante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/>
              <a:t>Asynchronous data processing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Why use SQS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229600" y="2415941"/>
            <a:ext cx="2290813" cy="14245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/>
          <p:cNvSpPr/>
          <p:nvPr/>
        </p:nvSpPr>
        <p:spPr>
          <a:xfrm>
            <a:off x="6535554" y="875899"/>
            <a:ext cx="375385" cy="2290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6622181" y="1751798"/>
            <a:ext cx="288758" cy="2290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7100149" y="2186940"/>
            <a:ext cx="288758" cy="2290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6537158" y="2457917"/>
            <a:ext cx="288758" cy="2290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6822664" y="3028349"/>
            <a:ext cx="288758" cy="2290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6723246" y="4114666"/>
            <a:ext cx="288758" cy="22900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11352585" y="1223009"/>
            <a:ext cx="286006" cy="2852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11352585" y="2457917"/>
            <a:ext cx="286006" cy="40078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6967043" y="1104900"/>
            <a:ext cx="1339559" cy="11965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7633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7348" y="1617044"/>
            <a:ext cx="11700000" cy="4664509"/>
          </a:xfrm>
        </p:spPr>
        <p:txBody>
          <a:bodyPr/>
          <a:lstStyle/>
          <a:p>
            <a:endParaRPr lang="en-US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/>
              <a:t>Multiple producers and </a:t>
            </a:r>
            <a:r>
              <a:rPr lang="en-US" b="1" dirty="0" smtClean="0"/>
              <a:t>consumer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/>
              <a:t>Variable message </a:t>
            </a:r>
            <a:r>
              <a:rPr lang="en-US" b="1" dirty="0" smtClean="0"/>
              <a:t>size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b="1" dirty="0"/>
              <a:t>Delay </a:t>
            </a:r>
            <a:r>
              <a:rPr lang="en-US" b="1" dirty="0" smtClean="0"/>
              <a:t>queue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Main Features of SQS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762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3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23A5B85C-F9EE-4523-9FF0-24A1D6C76194}" vid="{5CD0F2CD-C149-47AE-9000-EEF59CE5E48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8</TotalTime>
  <Words>145</Words>
  <Application>Microsoft Office PowerPoint</Application>
  <PresentationFormat>Widescreen</PresentationFormat>
  <Paragraphs>55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rial</vt:lpstr>
      <vt:lpstr>Calibri</vt:lpstr>
      <vt:lpstr>Calibri Light</vt:lpstr>
      <vt:lpstr>Trebuchet MS</vt:lpstr>
      <vt:lpstr>Verdana</vt:lpstr>
      <vt:lpstr>Wingdings</vt:lpstr>
      <vt:lpstr>Wingdings 3</vt:lpstr>
      <vt:lpstr>Office Theme</vt:lpstr>
      <vt:lpstr>Facet</vt:lpstr>
      <vt:lpstr>Capgemini Master</vt:lpstr>
      <vt:lpstr>think-cell Slide</vt:lpstr>
      <vt:lpstr>AWS-Session3</vt:lpstr>
      <vt:lpstr>Agenda</vt:lpstr>
      <vt:lpstr>SNS (Simple Notification Service)</vt:lpstr>
      <vt:lpstr>PowerPoint Presentation</vt:lpstr>
      <vt:lpstr>Uses of SNS</vt:lpstr>
      <vt:lpstr>Lab SNS</vt:lpstr>
      <vt:lpstr>SQS (Simple Queue Service)</vt:lpstr>
      <vt:lpstr>Why use SQS</vt:lpstr>
      <vt:lpstr>Main Features of SQS</vt:lpstr>
      <vt:lpstr>Types of Queue</vt:lpstr>
      <vt:lpstr>Lab Queue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WS-Session3</dc:title>
  <dc:creator>Cheriyan, Rincy</dc:creator>
  <cp:lastModifiedBy>Cheriyan, Rincy</cp:lastModifiedBy>
  <cp:revision>11</cp:revision>
  <dcterms:created xsi:type="dcterms:W3CDTF">2020-08-29T14:18:44Z</dcterms:created>
  <dcterms:modified xsi:type="dcterms:W3CDTF">2020-09-27T08:00:16Z</dcterms:modified>
</cp:coreProperties>
</file>